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F6F6F6"/>
    <a:srgbClr val="444444"/>
    <a:srgbClr val="E5E5E5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Weigel Stefan (PAR-EPS)" userId="fd3b2067-2981-4ad8-bf3a-d2e1004e4fa8" providerId="ADAL" clId="{27F2DCF3-18C7-4EB7-81AB-908CF53D04FC}"/>
    <pc:docChg chg="modSld">
      <pc:chgData name="Weigel Stefan (PAR-EPS)" userId="fd3b2067-2981-4ad8-bf3a-d2e1004e4fa8" providerId="ADAL" clId="{27F2DCF3-18C7-4EB7-81AB-908CF53D04FC}" dt="2024-03-10T07:36:02.968" v="26" actId="20577"/>
      <pc:docMkLst>
        <pc:docMk/>
      </pc:docMkLst>
      <pc:sldChg chg="modSp mod">
        <pc:chgData name="Weigel Stefan (PAR-EPS)" userId="fd3b2067-2981-4ad8-bf3a-d2e1004e4fa8" providerId="ADAL" clId="{27F2DCF3-18C7-4EB7-81AB-908CF53D04FC}" dt="2024-03-10T07:36:02.968" v="26" actId="20577"/>
        <pc:sldMkLst>
          <pc:docMk/>
          <pc:sldMk cId="3613367002" sldId="402"/>
        </pc:sldMkLst>
        <pc:spChg chg="mod">
          <ac:chgData name="Weigel Stefan (PAR-EPS)" userId="fd3b2067-2981-4ad8-bf3a-d2e1004e4fa8" providerId="ADAL" clId="{27F2DCF3-18C7-4EB7-81AB-908CF53D04FC}" dt="2024-03-10T07:36:02.968" v="26" actId="20577"/>
          <ac:spMkLst>
            <pc:docMk/>
            <pc:sldMk cId="3613367002" sldId="402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AB9BD83-2AB0-4B74-AB8D-3C141C871FF0}"/>
    <pc:docChg chg="delSld">
      <pc:chgData name="Meyer Raphael (PAR-ES)" userId="79615dfe-ed48-4e74-a40f-4f7b034c1c27" providerId="ADAL" clId="{EAB9BD83-2AB0-4B74-AB8D-3C141C871FF0}" dt="2022-02-21T12:46:15.248" v="0" actId="47"/>
      <pc:docMkLst>
        <pc:docMk/>
      </pc:docMkLst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102945685" sldId="404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4C67D90F-5267-4B83-A05D-7450935D777C}"/>
    <pc:docChg chg="modSld">
      <pc:chgData name="Meyer Raphael (PAR-ES)" userId="79615dfe-ed48-4e74-a40f-4f7b034c1c27" providerId="ADAL" clId="{4C67D90F-5267-4B83-A05D-7450935D777C}" dt="2023-02-22T13:37:47.848" v="3" actId="27918"/>
      <pc:docMkLst>
        <pc:docMk/>
      </pc:docMkLst>
      <pc:sldChg chg="mod">
        <pc:chgData name="Meyer Raphael (PAR-ES)" userId="79615dfe-ed48-4e74-a40f-4f7b034c1c27" providerId="ADAL" clId="{4C67D90F-5267-4B83-A05D-7450935D777C}" dt="2023-02-22T13:37:47.848" v="3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Weigel Stefan (PAR-EPS)" userId="fd3b2067-2981-4ad8-bf3a-d2e1004e4fa8" providerId="ADAL" clId="{84AF5E18-CC3A-43CA-B9DF-371EE7ADBA9C}"/>
    <pc:docChg chg="modSld">
      <pc:chgData name="Weigel Stefan (PAR-EPS)" userId="fd3b2067-2981-4ad8-bf3a-d2e1004e4fa8" providerId="ADAL" clId="{84AF5E18-CC3A-43CA-B9DF-371EE7ADBA9C}" dt="2025-02-21T09:24:23.436" v="2" actId="27918"/>
      <pc:docMkLst>
        <pc:docMk/>
      </pc:docMkLst>
      <pc:sldChg chg="mod">
        <pc:chgData name="Weigel Stefan (PAR-EPS)" userId="fd3b2067-2981-4ad8-bf3a-d2e1004e4fa8" providerId="ADAL" clId="{84AF5E18-CC3A-43CA-B9DF-371EE7ADBA9C}" dt="2025-02-21T09:24:23.436" v="2" actId="27918"/>
        <pc:sldMkLst>
          <pc:docMk/>
          <pc:sldMk cId="3613367002" sldId="402"/>
        </pc:sldMkLst>
      </pc:sldChg>
    </pc:docChg>
  </pc:docChgLst>
  <pc:docChgLst>
    <pc:chgData name="Weigel Stefan (PAR-EPS)" userId="fd3b2067-2981-4ad8-bf3a-d2e1004e4fa8" providerId="ADAL" clId="{5706B174-BF7B-4204-AAF3-D2260E528955}"/>
    <pc:docChg chg="modSld">
      <pc:chgData name="Weigel Stefan (PAR-EPS)" userId="fd3b2067-2981-4ad8-bf3a-d2e1004e4fa8" providerId="ADAL" clId="{5706B174-BF7B-4204-AAF3-D2260E528955}" dt="2024-04-08T14:03:07.776" v="6"/>
      <pc:docMkLst>
        <pc:docMk/>
      </pc:docMkLst>
      <pc:sldChg chg="modSp mod setBg">
        <pc:chgData name="Weigel Stefan (PAR-EPS)" userId="fd3b2067-2981-4ad8-bf3a-d2e1004e4fa8" providerId="ADAL" clId="{5706B174-BF7B-4204-AAF3-D2260E528955}" dt="2024-04-08T14:03:07.776" v="6"/>
        <pc:sldMkLst>
          <pc:docMk/>
          <pc:sldMk cId="3613367002" sldId="402"/>
        </pc:sldMkLst>
        <pc:spChg chg="mod">
          <ac:chgData name="Weigel Stefan (PAR-EPS)" userId="fd3b2067-2981-4ad8-bf3a-d2e1004e4fa8" providerId="ADAL" clId="{5706B174-BF7B-4204-AAF3-D2260E528955}" dt="2024-04-08T14:03:02.376" v="5" actId="207"/>
          <ac:spMkLst>
            <pc:docMk/>
            <pc:sldMk cId="3613367002" sldId="402"/>
            <ac:spMk id="7" creationId="{8B4B6626-9A0F-4741-8F83-BF160AB040D0}"/>
          </ac:spMkLst>
        </pc:spChg>
        <pc:graphicFrameChg chg="mod">
          <ac:chgData name="Weigel Stefan (PAR-EPS)" userId="fd3b2067-2981-4ad8-bf3a-d2e1004e4fa8" providerId="ADAL" clId="{5706B174-BF7B-4204-AAF3-D2260E528955}" dt="2024-04-08T14:03:07.776" v="6"/>
          <ac:graphicFrameMkLst>
            <pc:docMk/>
            <pc:sldMk cId="3613367002" sldId="40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86A99FCC-6F7B-4FC5-B31D-D6D058FD1A5C}"/>
    <pc:docChg chg="modSld">
      <pc:chgData name="Weigel Stefan (PAR-EPS)" userId="fd3b2067-2981-4ad8-bf3a-d2e1004e4fa8" providerId="ADAL" clId="{86A99FCC-6F7B-4FC5-B31D-D6D058FD1A5C}" dt="2024-02-28T08:35:09.378" v="39" actId="27918"/>
      <pc:docMkLst>
        <pc:docMk/>
      </pc:docMkLst>
      <pc:sldChg chg="mod">
        <pc:chgData name="Weigel Stefan (PAR-EPS)" userId="fd3b2067-2981-4ad8-bf3a-d2e1004e4fa8" providerId="ADAL" clId="{86A99FCC-6F7B-4FC5-B31D-D6D058FD1A5C}" dt="2024-02-28T08:35:09.378" v="39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08917430735263E-2"/>
          <c:y val="0.13279676246680386"/>
          <c:w val="0.90365307677911244"/>
          <c:h val="0.66844629832116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Consolidated result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A8A8A8"/>
              </a:solidFill>
            </c:spPr>
            <c:extLst>
              <c:ext xmlns:c16="http://schemas.microsoft.com/office/drawing/2014/chart" uri="{C3380CC4-5D6E-409C-BE32-E72D297353CC}">
                <c16:uniqueId val="{00000009-BF2A-4774-B694-5AFB2344A67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F2A-4774-B694-5AFB2344A67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F2A-4774-B694-5AFB2344A67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2A-4774-B694-5AFB2344A67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F2A-4774-B694-5AFB2344A67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F2A-4774-B694-5AFB2344A67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F2A-4774-B694-5AFB2344A678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F2A-4774-B694-5AFB2344A678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2A-4774-B694-5AFB2344A678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2A-4774-B694-5AFB2344A67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62E8-444B-A150-582B1759E38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0.0</c:formatCode>
                <c:ptCount val="11"/>
                <c:pt idx="0">
                  <c:v>372.88296333000102</c:v>
                </c:pt>
                <c:pt idx="1">
                  <c:v>245.66372648999999</c:v>
                </c:pt>
                <c:pt idx="2">
                  <c:v>380.637372325878</c:v>
                </c:pt>
                <c:pt idx="3">
                  <c:v>398.95878820453299</c:v>
                </c:pt>
                <c:pt idx="4">
                  <c:v>568.40585356027998</c:v>
                </c:pt>
                <c:pt idx="5">
                  <c:v>463.48435327405701</c:v>
                </c:pt>
                <c:pt idx="6">
                  <c:v>-617.01844565235501</c:v>
                </c:pt>
                <c:pt idx="7">
                  <c:v>-325.330509616754</c:v>
                </c:pt>
                <c:pt idx="8">
                  <c:v>-245.36702553034399</c:v>
                </c:pt>
                <c:pt idx="9">
                  <c:v>266.53405112842398</c:v>
                </c:pt>
                <c:pt idx="10">
                  <c:v>275.00206181303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8-444B-A150-582B1759E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999424"/>
        <c:axId val="129000960"/>
      </c:barChart>
      <c:catAx>
        <c:axId val="12899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9000960"/>
        <c:crosses val="autoZero"/>
        <c:auto val="1"/>
        <c:lblAlgn val="ctr"/>
        <c:lblOffset val="100"/>
        <c:noMultiLvlLbl val="0"/>
      </c:catAx>
      <c:valAx>
        <c:axId val="129000960"/>
        <c:scaling>
          <c:orientation val="minMax"/>
          <c:max val="800"/>
          <c:min val="-8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##0;\−#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8999424"/>
        <c:crosses val="autoZero"/>
        <c:crossBetween val="between"/>
        <c:maj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6998</cdr:x>
      <cdr:y>0.0828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566"/>
          <a:ext cx="644976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io. </a:t>
          </a:r>
          <a:r>
            <a:rPr lang="de-CH" sz="1100" dirty="0">
              <a:solidFill>
                <a:srgbClr val="444444"/>
              </a:solidFill>
            </a:rPr>
            <a:t>CHF</a:t>
          </a:r>
          <a:endParaRPr lang="de-CH" sz="11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774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2046CFF-74E2-4454-B6E3-B6BB8B051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2046CFF-74E2-4454-B6E3-B6BB8B051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BB’s Consolidated Result</a:t>
            </a:r>
            <a:r>
              <a:rPr lang="en-US" dirty="0"/>
              <a:t>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72856734"/>
              </p:ext>
            </p:extLst>
          </p:nvPr>
        </p:nvGraphicFramePr>
        <p:xfrm>
          <a:off x="1487488" y="1875484"/>
          <a:ext cx="9217025" cy="4000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B4B6626-9A0F-4741-8F83-BF160AB04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61336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CF7CD92-A81B-4D82-99F5-BF728F022F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BB’s Consolidated Resul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’s Consolidated Result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5-02-24T12:5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